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7" r:id="rId2"/>
    <p:sldMasterId id="2147483733" r:id="rId3"/>
  </p:sldMasterIdLst>
  <p:notesMasterIdLst>
    <p:notesMasterId r:id="rId7"/>
  </p:notesMasterIdLst>
  <p:handoutMasterIdLst>
    <p:handoutMasterId r:id="rId8"/>
  </p:handoutMasterIdLst>
  <p:sldIdLst>
    <p:sldId id="572" r:id="rId4"/>
    <p:sldId id="603" r:id="rId5"/>
    <p:sldId id="604" r:id="rId6"/>
  </p:sldIdLst>
  <p:sldSz cx="12192000" cy="6858000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사경강 보고준비" id="{F88923F6-AD1C-422A-8A8C-5B41FB8535A5}">
          <p14:sldIdLst>
            <p14:sldId id="572"/>
            <p14:sldId id="603"/>
            <p14:sldId id="6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pos="17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611407"/>
    <a:srgbClr val="BF135B"/>
    <a:srgbClr val="D9D9D9"/>
    <a:srgbClr val="F2DCDB"/>
    <a:srgbClr val="FFFFFF"/>
    <a:srgbClr val="B7DEE8"/>
    <a:srgbClr val="FF0000"/>
    <a:srgbClr val="000000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37" autoAdjust="0"/>
    <p:restoredTop sz="96318" autoAdjust="0"/>
  </p:normalViewPr>
  <p:slideViewPr>
    <p:cSldViewPr>
      <p:cViewPr varScale="1">
        <p:scale>
          <a:sx n="95" d="100"/>
          <a:sy n="95" d="100"/>
        </p:scale>
        <p:origin x="462" y="78"/>
      </p:cViewPr>
      <p:guideLst>
        <p:guide orient="horz" pos="482"/>
        <p:guide pos="175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370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58A24F-0E91-4492-8788-0C9C9B783EC7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9C02F-4A86-42B5-B00D-A2B71CB07E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4093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214580-A936-4BFD-AF40-5F8404394476}" type="datetimeFigureOut">
              <a:rPr lang="ko-KR" altLang="en-US" smtClean="0"/>
              <a:t>2023-11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6E0E07-CB7D-4977-8D0A-B7E41E3A83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6557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E0E07-CB7D-4977-8D0A-B7E41E3A837B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108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E0E07-CB7D-4977-8D0A-B7E41E3A837B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6301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6E0E07-CB7D-4977-8D0A-B7E41E3A837B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7808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메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orking Draft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1275174" y="3951159"/>
            <a:ext cx="163826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600" dirty="0">
                <a:solidFill>
                  <a:srgbClr val="000000"/>
                </a:solidFill>
              </a:rPr>
              <a:t>Last Modified 10/7/2009 1:56:32 PM Korea Standard Time</a:t>
            </a:r>
          </a:p>
        </p:txBody>
      </p:sp>
      <p:sp>
        <p:nvSpPr>
          <p:cNvPr id="4" name="제목 1"/>
          <p:cNvSpPr>
            <a:spLocks noGrp="1"/>
          </p:cNvSpPr>
          <p:nvPr>
            <p:ph type="title"/>
          </p:nvPr>
        </p:nvSpPr>
        <p:spPr>
          <a:xfrm>
            <a:off x="239350" y="116632"/>
            <a:ext cx="5856650" cy="4233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ko-KR" altLang="en-US" sz="2000" b="1" i="0" dirty="0">
                <a:latin typeface="Arial Narrow" panose="020B0606020202030204" pitchFamily="34" charset="0"/>
              </a:defRPr>
            </a:lvl1pPr>
          </a:lstStyle>
          <a:p>
            <a:pPr marL="0" lvl="0" algn="l"/>
            <a:r>
              <a:rPr lang="ko-KR" altLang="en-US" dirty="0"/>
              <a:t>마스터 제목 스타일 편집</a:t>
            </a:r>
          </a:p>
        </p:txBody>
      </p:sp>
      <p:sp>
        <p:nvSpPr>
          <p:cNvPr id="7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11600051" y="6546465"/>
            <a:ext cx="345214" cy="153888"/>
          </a:xfrm>
          <a:prstGeom prst="rect">
            <a:avLst/>
          </a:prstGeom>
        </p:spPr>
        <p:txBody>
          <a:bodyPr vert="horz" wrap="none" lIns="36000" tIns="0" rIns="36000" bIns="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algn="r"/>
            <a:fld id="{08E41093-9542-4C9E-8EB9-EEABC017FFBD}" type="slidenum">
              <a:rPr lang="ko-KR" altLang="en-US" smtClean="0">
                <a:solidFill>
                  <a:prstClr val="black"/>
                </a:solidFill>
              </a:rPr>
              <a:pPr algn="r"/>
              <a:t>‹#›</a:t>
            </a:fld>
            <a:r>
              <a:rPr lang="ko-KR" altLang="en-US" dirty="0">
                <a:solidFill>
                  <a:prstClr val="black"/>
                </a:solidFill>
              </a:rPr>
              <a:t> </a:t>
            </a:r>
            <a:r>
              <a:rPr lang="en-US" altLang="ko-KR" dirty="0">
                <a:solidFill>
                  <a:prstClr val="black"/>
                </a:solidFill>
              </a:rPr>
              <a:t>/ 8</a:t>
            </a:r>
            <a:endParaRPr lang="ko-KR" altLang="en-US" dirty="0">
              <a:solidFill>
                <a:prstClr val="black"/>
              </a:solidFill>
            </a:endParaRPr>
          </a:p>
        </p:txBody>
      </p:sp>
      <p:sp>
        <p:nvSpPr>
          <p:cNvPr id="10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9350" y="595287"/>
            <a:ext cx="11713301" cy="38404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ko-KR" altLang="en-US" sz="1700" b="1" i="0" dirty="0" smtClean="0"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45341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574" b="66436"/>
          <a:stretch/>
        </p:blipFill>
        <p:spPr bwMode="auto">
          <a:xfrm>
            <a:off x="1" y="0"/>
            <a:ext cx="980385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5" t="77614"/>
          <a:stretch/>
        </p:blipFill>
        <p:spPr bwMode="auto">
          <a:xfrm>
            <a:off x="10249182" y="4942967"/>
            <a:ext cx="1942223" cy="19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ECM\TEMP\부서함\Brand담당\CI 매뉴얼★\★로고파일-자회사名\14년ver\(주)LG\LG_가로조합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416" y="4818360"/>
            <a:ext cx="1098747" cy="48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Box 2"/>
          <p:cNvSpPr txBox="1">
            <a:spLocks noChangeArrowheads="1"/>
          </p:cNvSpPr>
          <p:nvPr userDrawn="1"/>
        </p:nvSpPr>
        <p:spPr bwMode="gray">
          <a:xfrm>
            <a:off x="5419026" y="6575708"/>
            <a:ext cx="1353349" cy="256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70000"/>
              </a:spcBef>
              <a:spcAft>
                <a:spcPct val="0"/>
              </a:spcAft>
              <a:buFont typeface="Arial" charset="0"/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70000"/>
              </a:spcBef>
              <a:spcAft>
                <a:spcPct val="0"/>
              </a:spcAft>
              <a:buFont typeface="Arial" charset="0"/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70000"/>
              </a:spcBef>
              <a:spcAft>
                <a:spcPct val="0"/>
              </a:spcAft>
              <a:buFont typeface="Arial" charset="0"/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70000"/>
              </a:spcBef>
              <a:spcAft>
                <a:spcPct val="0"/>
              </a:spcAft>
              <a:buFont typeface="Arial" charset="0"/>
              <a:defRPr kumimoji="1" sz="12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dist" eaLnBrk="1" latinLnBrk="0" hangingPunct="1">
              <a:spcBef>
                <a:spcPct val="50000"/>
              </a:spcBef>
            </a:pPr>
            <a:r>
              <a:rPr lang="ko-KR" altLang="en-US" sz="1067" dirty="0">
                <a:solidFill>
                  <a:srgbClr val="A50034"/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Arial" charset="0"/>
              </a:rPr>
              <a:t>｜</a:t>
            </a:r>
            <a:r>
              <a:rPr lang="en-US" altLang="ko-KR" sz="1067" b="0" dirty="0">
                <a:solidFill>
                  <a:srgbClr val="A50034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charset="0"/>
              </a:rPr>
              <a:t>CONFIDENTIAL</a:t>
            </a:r>
            <a:r>
              <a:rPr lang="ko-KR" altLang="en-US" sz="1067" dirty="0">
                <a:solidFill>
                  <a:srgbClr val="A50034"/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Arial" charset="0"/>
              </a:rPr>
              <a:t>｜</a:t>
            </a:r>
            <a:endParaRPr lang="en-US" altLang="ko-KR" sz="1067" dirty="0">
              <a:solidFill>
                <a:srgbClr val="A50034"/>
              </a:solidFill>
              <a:latin typeface="LG스마트체2.0 SemiBold" panose="020B0600000101010101" pitchFamily="50" charset="-127"/>
              <a:ea typeface="LG스마트체2.0 SemiBold" panose="020B0600000101010101" pitchFamily="50" charset="-127"/>
              <a:cs typeface="Arial" charset="0"/>
            </a:endParaRPr>
          </a:p>
        </p:txBody>
      </p:sp>
      <p:sp>
        <p:nvSpPr>
          <p:cNvPr id="14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343025" y="5560525"/>
            <a:ext cx="4176713" cy="2889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None/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1pPr>
            <a:lvl2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2pPr>
            <a:lvl3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3pPr>
            <a:lvl4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4pPr>
            <a:lvl5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7" name="제목 15"/>
          <p:cNvSpPr>
            <a:spLocks noGrp="1"/>
          </p:cNvSpPr>
          <p:nvPr>
            <p:ph type="title"/>
          </p:nvPr>
        </p:nvSpPr>
        <p:spPr>
          <a:xfrm>
            <a:off x="1201923" y="2329850"/>
            <a:ext cx="10294677" cy="578917"/>
          </a:xfrm>
          <a:prstGeom prst="rect">
            <a:avLst/>
          </a:prstGeom>
        </p:spPr>
        <p:txBody>
          <a:bodyPr/>
          <a:lstStyle>
            <a:lvl1pPr marL="0" algn="l" defTabSz="914400" rtl="0" eaLnBrk="1" latinLnBrk="1" hangingPunct="1">
              <a:defRPr lang="ko-KR" altLang="en-US" sz="3600" b="1" kern="1200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1" name="텍스트 개체 틀 19"/>
          <p:cNvSpPr>
            <a:spLocks noGrp="1"/>
          </p:cNvSpPr>
          <p:nvPr>
            <p:ph type="body" sz="quarter" idx="11"/>
          </p:nvPr>
        </p:nvSpPr>
        <p:spPr>
          <a:xfrm>
            <a:off x="1343024" y="3158968"/>
            <a:ext cx="4536952" cy="3111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buNone/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  <a:lvl2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2pPr>
            <a:lvl3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3pPr>
            <a:lvl4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4pPr>
            <a:lvl5pPr marL="0" algn="l" defTabSz="914400" rtl="0" eaLnBrk="1" latinLnBrk="1" hangingPunct="1">
              <a:defRPr lang="ko-KR" altLang="en-US" sz="1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71502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574" b="66436"/>
          <a:stretch/>
        </p:blipFill>
        <p:spPr bwMode="auto">
          <a:xfrm>
            <a:off x="1" y="0"/>
            <a:ext cx="980385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5" t="77614"/>
          <a:stretch/>
        </p:blipFill>
        <p:spPr bwMode="auto">
          <a:xfrm>
            <a:off x="10249182" y="4942967"/>
            <a:ext cx="1942223" cy="19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ECM\TEMP\부서함\Brand담당\CI 매뉴얼★\★로고파일-자회사名\14년ver\(주)LG\LG_가로조합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416" y="4818360"/>
            <a:ext cx="1098747" cy="48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1343025" y="5560525"/>
            <a:ext cx="4176713" cy="2889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buNone/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1pPr>
            <a:lvl2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2pPr>
            <a:lvl3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3pPr>
            <a:lvl4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4pPr>
            <a:lvl5pPr marL="0" algn="l" defTabSz="9144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lang="ko-KR" altLang="en-US" sz="1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charset="0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7" name="제목 15"/>
          <p:cNvSpPr>
            <a:spLocks noGrp="1"/>
          </p:cNvSpPr>
          <p:nvPr>
            <p:ph type="title"/>
          </p:nvPr>
        </p:nvSpPr>
        <p:spPr>
          <a:xfrm>
            <a:off x="1201923" y="2329850"/>
            <a:ext cx="10294677" cy="578917"/>
          </a:xfrm>
          <a:prstGeom prst="rect">
            <a:avLst/>
          </a:prstGeom>
        </p:spPr>
        <p:txBody>
          <a:bodyPr/>
          <a:lstStyle>
            <a:lvl1pPr marL="0" algn="l" defTabSz="914400" rtl="0" eaLnBrk="1" latinLnBrk="1" hangingPunct="1">
              <a:defRPr lang="ko-KR" altLang="en-US" sz="3600" b="1" kern="1200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21" name="텍스트 개체 틀 19"/>
          <p:cNvSpPr>
            <a:spLocks noGrp="1"/>
          </p:cNvSpPr>
          <p:nvPr>
            <p:ph type="body" sz="quarter" idx="11"/>
          </p:nvPr>
        </p:nvSpPr>
        <p:spPr>
          <a:xfrm>
            <a:off x="1343024" y="3158968"/>
            <a:ext cx="4536952" cy="3111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buNone/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  <a:lvl2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2pPr>
            <a:lvl3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3pPr>
            <a:lvl4pPr marL="0" algn="l" defTabSz="914400" rtl="0" eaLnBrk="1" latinLnBrk="1" hangingPunct="1">
              <a:defRPr lang="ko-KR" altLang="en-US" sz="1400" b="1" kern="1200" dirty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4pPr>
            <a:lvl5pPr marL="0" algn="l" defTabSz="914400" rtl="0" eaLnBrk="1" latinLnBrk="1" hangingPunct="1">
              <a:defRPr lang="ko-KR" altLang="en-US" sz="1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49236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405DFE-5271-41F1-8256-B83D1733683B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1-0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BD6101-C88A-42E3-B884-C045327D3AE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239185" y="559438"/>
            <a:ext cx="11713633" cy="105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239185" y="6566023"/>
            <a:ext cx="117136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871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11600058" y="6546465"/>
            <a:ext cx="345214" cy="153888"/>
          </a:xfrm>
          <a:prstGeom prst="rect">
            <a:avLst/>
          </a:prstGeom>
        </p:spPr>
        <p:txBody>
          <a:bodyPr vert="horz" wrap="none" lIns="36000" tIns="0" rIns="36000" bIns="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algn="r"/>
            <a:fld id="{08E41093-9542-4C9E-8EB9-EEABC017FFBD}" type="slidenum">
              <a:rPr lang="ko-KR" altLang="en-US" smtClean="0">
                <a:solidFill>
                  <a:prstClr val="black"/>
                </a:solidFill>
              </a:rPr>
              <a:pPr algn="r"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8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671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hf hdr="0" ftr="0" dt="0"/>
  <p:txStyles>
    <p:titleStyle>
      <a:lvl1pPr algn="l" defTabSz="914332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11600058" y="6546465"/>
            <a:ext cx="345214" cy="153888"/>
          </a:xfrm>
          <a:prstGeom prst="rect">
            <a:avLst/>
          </a:prstGeom>
        </p:spPr>
        <p:txBody>
          <a:bodyPr vert="horz" wrap="none" lIns="36000" tIns="0" rIns="36000" bIns="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algn="r"/>
            <a:fld id="{08E41093-9542-4C9E-8EB9-EEABC017FFBD}" type="slidenum">
              <a:rPr lang="ko-KR" altLang="en-US" smtClean="0">
                <a:solidFill>
                  <a:prstClr val="black"/>
                </a:solidFill>
              </a:rPr>
              <a:pPr algn="r"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8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82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hf hdr="0" ftr="0" dt="0"/>
  <p:txStyles>
    <p:titleStyle>
      <a:lvl1pPr algn="l" defTabSz="914332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텍스트 개체 틀 6"/>
          <p:cNvSpPr>
            <a:spLocks noGrp="1"/>
          </p:cNvSpPr>
          <p:nvPr>
            <p:ph type="body" sz="quarter" idx="10"/>
          </p:nvPr>
        </p:nvSpPr>
        <p:spPr>
          <a:xfrm>
            <a:off x="1272947" y="5560525"/>
            <a:ext cx="7273255" cy="288925"/>
          </a:xfrm>
        </p:spPr>
        <p:txBody>
          <a:bodyPr/>
          <a:lstStyle/>
          <a:p>
            <a:r>
              <a:rPr lang="en-US" altLang="ko-KR" dirty="0"/>
              <a:t>AR Credit  |   2023.10.05</a:t>
            </a:r>
            <a:endParaRPr lang="ko-KR" altLang="en-US" dirty="0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127449" y="2348880"/>
            <a:ext cx="8280919" cy="578917"/>
          </a:xfrm>
        </p:spPr>
        <p:txBody>
          <a:bodyPr/>
          <a:lstStyle/>
          <a:p>
            <a:r>
              <a:rPr lang="en-US" altLang="ko-KR" dirty="0"/>
              <a:t>Dealer Net : AR Credit Limit application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43403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Application Process : AR Credit Limit in Dealer Net</a:t>
            </a:r>
            <a:endParaRPr lang="ko-KR" altLang="en-US" dirty="0"/>
          </a:p>
        </p:txBody>
      </p:sp>
      <p:sp>
        <p:nvSpPr>
          <p:cNvPr id="14" name="직사각형 13"/>
          <p:cNvSpPr/>
          <p:nvPr/>
        </p:nvSpPr>
        <p:spPr>
          <a:xfrm>
            <a:off x="299356" y="692696"/>
            <a:ext cx="8460940" cy="571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b="1" dirty="0">
                <a:solidFill>
                  <a:prstClr val="black"/>
                </a:solidFill>
              </a:rPr>
              <a:t>Credit Limit</a:t>
            </a:r>
          </a:p>
          <a:p>
            <a:pPr marL="177800" indent="-177800">
              <a:lnSpc>
                <a:spcPct val="150000"/>
              </a:lnSpc>
            </a:pPr>
            <a:endParaRPr lang="en-US" altLang="ko-KR" sz="1000" dirty="0">
              <a:solidFill>
                <a:prstClr val="black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9900702-871E-4087-A680-C3B73C224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8021892"/>
              </p:ext>
            </p:extLst>
          </p:nvPr>
        </p:nvGraphicFramePr>
        <p:xfrm>
          <a:off x="767408" y="1124744"/>
          <a:ext cx="10081119" cy="5040549"/>
        </p:xfrm>
        <a:graphic>
          <a:graphicData uri="http://schemas.openxmlformats.org/drawingml/2006/table">
            <a:tbl>
              <a:tblPr/>
              <a:tblGrid>
                <a:gridCol w="653248">
                  <a:extLst>
                    <a:ext uri="{9D8B030D-6E8A-4147-A177-3AD203B41FA5}">
                      <a16:colId xmlns:a16="http://schemas.microsoft.com/office/drawing/2014/main" val="2252506730"/>
                    </a:ext>
                  </a:extLst>
                </a:gridCol>
                <a:gridCol w="1459602">
                  <a:extLst>
                    <a:ext uri="{9D8B030D-6E8A-4147-A177-3AD203B41FA5}">
                      <a16:colId xmlns:a16="http://schemas.microsoft.com/office/drawing/2014/main" val="4216125734"/>
                    </a:ext>
                  </a:extLst>
                </a:gridCol>
                <a:gridCol w="1622914">
                  <a:extLst>
                    <a:ext uri="{9D8B030D-6E8A-4147-A177-3AD203B41FA5}">
                      <a16:colId xmlns:a16="http://schemas.microsoft.com/office/drawing/2014/main" val="19373396"/>
                    </a:ext>
                  </a:extLst>
                </a:gridCol>
                <a:gridCol w="857389">
                  <a:extLst>
                    <a:ext uri="{9D8B030D-6E8A-4147-A177-3AD203B41FA5}">
                      <a16:colId xmlns:a16="http://schemas.microsoft.com/office/drawing/2014/main" val="1912997197"/>
                    </a:ext>
                  </a:extLst>
                </a:gridCol>
                <a:gridCol w="870998">
                  <a:extLst>
                    <a:ext uri="{9D8B030D-6E8A-4147-A177-3AD203B41FA5}">
                      <a16:colId xmlns:a16="http://schemas.microsoft.com/office/drawing/2014/main" val="2029421187"/>
                    </a:ext>
                  </a:extLst>
                </a:gridCol>
                <a:gridCol w="1173806">
                  <a:extLst>
                    <a:ext uri="{9D8B030D-6E8A-4147-A177-3AD203B41FA5}">
                      <a16:colId xmlns:a16="http://schemas.microsoft.com/office/drawing/2014/main" val="3946013187"/>
                    </a:ext>
                  </a:extLst>
                </a:gridCol>
                <a:gridCol w="653248">
                  <a:extLst>
                    <a:ext uri="{9D8B030D-6E8A-4147-A177-3AD203B41FA5}">
                      <a16:colId xmlns:a16="http://schemas.microsoft.com/office/drawing/2014/main" val="2572463394"/>
                    </a:ext>
                  </a:extLst>
                </a:gridCol>
                <a:gridCol w="653248">
                  <a:extLst>
                    <a:ext uri="{9D8B030D-6E8A-4147-A177-3AD203B41FA5}">
                      <a16:colId xmlns:a16="http://schemas.microsoft.com/office/drawing/2014/main" val="1794882346"/>
                    </a:ext>
                  </a:extLst>
                </a:gridCol>
                <a:gridCol w="653248">
                  <a:extLst>
                    <a:ext uri="{9D8B030D-6E8A-4147-A177-3AD203B41FA5}">
                      <a16:colId xmlns:a16="http://schemas.microsoft.com/office/drawing/2014/main" val="1276206648"/>
                    </a:ext>
                  </a:extLst>
                </a:gridCol>
                <a:gridCol w="653248">
                  <a:extLst>
                    <a:ext uri="{9D8B030D-6E8A-4147-A177-3AD203B41FA5}">
                      <a16:colId xmlns:a16="http://schemas.microsoft.com/office/drawing/2014/main" val="2027461884"/>
                    </a:ext>
                  </a:extLst>
                </a:gridCol>
                <a:gridCol w="830170">
                  <a:extLst>
                    <a:ext uri="{9D8B030D-6E8A-4147-A177-3AD203B41FA5}">
                      <a16:colId xmlns:a16="http://schemas.microsoft.com/office/drawing/2014/main" val="2031659303"/>
                    </a:ext>
                  </a:extLst>
                </a:gridCol>
              </a:tblGrid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arch 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eader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0040288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713328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me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TWARY BROTHERS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ed Excel upload rights for data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96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819700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UW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67253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nne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stributor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- Master Screen for Header code and further Details till Insurance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4582417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surance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FACE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- Upload function for Insurance and History management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9597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ormat Enclosed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yer Detai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042923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06189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les History last two years (Amt in Lakhs)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0626912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944121"/>
                  </a:ext>
                </a:extLst>
              </a:tr>
              <a:tr h="32891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Year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x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x sales Month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ast two years data in yearly break up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0639988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ast 12 months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G : Total Sales / 12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411315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eceding 12 months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x: Total Sales Max in particular month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667419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405877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ast Six Month Sales and Payment Trend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2587483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8800141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nth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b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r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y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550198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les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855108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llection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664629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424606"/>
                  </a:ext>
                </a:extLst>
              </a:tr>
              <a:tr h="328912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to 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urrent Credit Limit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mount in INR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erface from AR Summary Aging, To be check with Ms. Jagriti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3278601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1501521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redit Limit Request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mount in INR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701906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56426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utue Sales Plan (Next six months)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7676950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nth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g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p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ct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v'23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c'24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'24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036019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mount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496" marR="7496" marT="749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496" marR="7496" marT="7496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51440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2559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Application Process : AR Credit Limit in Dealer Net</a:t>
            </a:r>
            <a:endParaRPr lang="ko-KR" altLang="en-US" dirty="0"/>
          </a:p>
        </p:txBody>
      </p:sp>
      <p:sp>
        <p:nvSpPr>
          <p:cNvPr id="14" name="직사각형 13"/>
          <p:cNvSpPr/>
          <p:nvPr/>
        </p:nvSpPr>
        <p:spPr>
          <a:xfrm>
            <a:off x="299356" y="692696"/>
            <a:ext cx="8460940" cy="571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b="1" dirty="0">
                <a:solidFill>
                  <a:prstClr val="black"/>
                </a:solidFill>
              </a:rPr>
              <a:t>Credit Limit</a:t>
            </a:r>
          </a:p>
          <a:p>
            <a:pPr marL="177800" indent="-177800">
              <a:lnSpc>
                <a:spcPct val="150000"/>
              </a:lnSpc>
            </a:pPr>
            <a:endParaRPr lang="en-US" altLang="ko-KR" sz="1000" dirty="0">
              <a:solidFill>
                <a:prstClr val="black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365FD6B-427C-4808-9604-06D8FE9B87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4441227"/>
              </p:ext>
            </p:extLst>
          </p:nvPr>
        </p:nvGraphicFramePr>
        <p:xfrm>
          <a:off x="479376" y="1124744"/>
          <a:ext cx="10873210" cy="4574193"/>
        </p:xfrm>
        <a:graphic>
          <a:graphicData uri="http://schemas.openxmlformats.org/drawingml/2006/table">
            <a:tbl>
              <a:tblPr/>
              <a:tblGrid>
                <a:gridCol w="764709">
                  <a:extLst>
                    <a:ext uri="{9D8B030D-6E8A-4147-A177-3AD203B41FA5}">
                      <a16:colId xmlns:a16="http://schemas.microsoft.com/office/drawing/2014/main" val="61968737"/>
                    </a:ext>
                  </a:extLst>
                </a:gridCol>
                <a:gridCol w="1708647">
                  <a:extLst>
                    <a:ext uri="{9D8B030D-6E8A-4147-A177-3AD203B41FA5}">
                      <a16:colId xmlns:a16="http://schemas.microsoft.com/office/drawing/2014/main" val="2364513594"/>
                    </a:ext>
                  </a:extLst>
                </a:gridCol>
                <a:gridCol w="1559092">
                  <a:extLst>
                    <a:ext uri="{9D8B030D-6E8A-4147-A177-3AD203B41FA5}">
                      <a16:colId xmlns:a16="http://schemas.microsoft.com/office/drawing/2014/main" val="2925726097"/>
                    </a:ext>
                  </a:extLst>
                </a:gridCol>
                <a:gridCol w="113710">
                  <a:extLst>
                    <a:ext uri="{9D8B030D-6E8A-4147-A177-3AD203B41FA5}">
                      <a16:colId xmlns:a16="http://schemas.microsoft.com/office/drawing/2014/main" val="533716409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1654281164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3874738145"/>
                    </a:ext>
                  </a:extLst>
                </a:gridCol>
                <a:gridCol w="1374089">
                  <a:extLst>
                    <a:ext uri="{9D8B030D-6E8A-4147-A177-3AD203B41FA5}">
                      <a16:colId xmlns:a16="http://schemas.microsoft.com/office/drawing/2014/main" val="1433976568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176296564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2879057460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1838214093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2717902820"/>
                    </a:ext>
                  </a:extLst>
                </a:gridCol>
                <a:gridCol w="764709">
                  <a:extLst>
                    <a:ext uri="{9D8B030D-6E8A-4147-A177-3AD203B41FA5}">
                      <a16:colId xmlns:a16="http://schemas.microsoft.com/office/drawing/2014/main" val="144810974"/>
                    </a:ext>
                  </a:extLst>
                </a:gridCol>
              </a:tblGrid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308662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emarks if any on Limit request / buyer credibility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934011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8025406"/>
                  </a:ext>
                </a:extLst>
              </a:tr>
              <a:tr h="297891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ual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closed Financial Statements {If No pls collect Audited / Provision soon}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eed POP up before submit request if no FS Attached)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0452601"/>
                  </a:ext>
                </a:extLst>
              </a:tr>
              <a:tr h="6926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Y 21-22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pulsary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t Mandatory field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Stop POP up if remark change from Compulsary / Need to received)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2245342"/>
                  </a:ext>
                </a:extLst>
              </a:tr>
              <a:tr h="2021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Y 22-23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ed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718022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708453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355265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te 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) Lead time for New Limits / Enhancement is 7~10 working days from Insurance company.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2797497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) DCL does not apply if Insurance request is refused (Operate on cash and carry term)</a:t>
                      </a:r>
                    </a:p>
                  </a:txBody>
                  <a:tcPr marL="8229" marR="8229" marT="8229" marB="0" anchor="ctr">
                    <a:lnL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761861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48A5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5667435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al Step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ubmit 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6419739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4434988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nd Step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st submission of request 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519085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) Email intimation to AR Team, BAM, BM along with submitted Form in attachement.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0787270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) Form detail on body : Buyer Header Code, Name, Amount requested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419226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) Email Subject: Buyer Header / Name _ Submit Date</a:t>
                      </a:r>
                    </a:p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) All process on Control AU as per dealer net.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270581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100418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rd Step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aler Net HO Rights with reports access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1673727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) Grid Screen and Download request in Excel format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368613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) Shorting request Date wise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5194796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) Shorting request Amount Wise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29" marR="8229" marT="822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378704"/>
                  </a:ext>
                </a:extLst>
              </a:tr>
              <a:tr h="164580">
                <a:tc>
                  <a:txBody>
                    <a:bodyPr/>
                    <a:lstStyle/>
                    <a:p>
                      <a:pPr algn="ctr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) Shorting Financial statement Y / N and download rights</a:t>
                      </a: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229" marR="8229" marT="82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036612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2A3125A-125C-4A0C-BCB2-18A88B03C177}"/>
              </a:ext>
            </a:extLst>
          </p:cNvPr>
          <p:cNvSpPr/>
          <p:nvPr/>
        </p:nvSpPr>
        <p:spPr>
          <a:xfrm>
            <a:off x="4655840" y="2060848"/>
            <a:ext cx="936104" cy="2160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Attachment</a:t>
            </a:r>
            <a:endParaRPr lang="en-IN" sz="7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264882-363B-47FA-B2FD-7002F3E9F47E}"/>
              </a:ext>
            </a:extLst>
          </p:cNvPr>
          <p:cNvSpPr/>
          <p:nvPr/>
        </p:nvSpPr>
        <p:spPr>
          <a:xfrm>
            <a:off x="4655840" y="2348880"/>
            <a:ext cx="936104" cy="2160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Attachment</a:t>
            </a:r>
            <a:endParaRPr lang="en-IN" sz="7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B35369-2FDD-4E55-8A30-08A75E4E33A1}"/>
              </a:ext>
            </a:extLst>
          </p:cNvPr>
          <p:cNvSpPr txBox="1"/>
          <p:nvPr/>
        </p:nvSpPr>
        <p:spPr>
          <a:xfrm>
            <a:off x="647395" y="5754313"/>
            <a:ext cx="5040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Remarks:-</a:t>
            </a:r>
          </a:p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1- “</a:t>
            </a:r>
            <a:r>
              <a:rPr lang="en-IN" sz="1000" dirty="0">
                <a:solidFill>
                  <a:srgbClr val="000000"/>
                </a:solidFill>
                <a:latin typeface="Calibri" panose="020F0502020204030204" pitchFamily="34" charset="0"/>
              </a:rPr>
              <a:t>Current Credit Limit” capture from dealer-net for auto pick</a:t>
            </a:r>
          </a:p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2- Merge the module under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</a:rPr>
              <a:t>Dealernet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 and use same user credential to access for each role.</a:t>
            </a:r>
            <a:endParaRPr lang="en-IN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2552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acjpynE62ILawUDqtDw"/>
</p:tagLst>
</file>

<file path=ppt/theme/theme1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기본폰트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Arial Narrow"/>
        <a:ea typeface="LG스마트체 Regular"/>
        <a:cs typeface="Arial"/>
      </a:majorFont>
      <a:minorFont>
        <a:latin typeface="Arial Narrow"/>
        <a:ea typeface="LG스마트체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317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317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50000"/>
              <a:lumOff val="50000"/>
            </a:schemeClr>
          </a:solidFill>
        </a:ln>
      </a:spPr>
      <a:bodyPr wrap="square" rtlCol="0">
        <a:noAutofit/>
      </a:bodyPr>
      <a:lstStyle>
        <a:defPPr>
          <a:defRPr sz="1000" b="0" dirty="0" smtClean="0">
            <a:latin typeface="Noto Sans KR Medium" panose="020B0600000000000000" pitchFamily="34" charset="-127"/>
            <a:ea typeface="Noto Sans KR Medium" panose="020B0600000000000000" pitchFamily="34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Arial Narrow"/>
        <a:ea typeface="LG스마트체 Regular"/>
        <a:cs typeface="Arial"/>
      </a:majorFont>
      <a:minorFont>
        <a:latin typeface="Arial Narrow"/>
        <a:ea typeface="LG스마트체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317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317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000" b="0" dirty="0" smtClean="0">
            <a:latin typeface="Noto Sans KR Medium" panose="020B0600000000000000" pitchFamily="34" charset="-127"/>
            <a:ea typeface="Noto Sans KR Medium" panose="020B0600000000000000" pitchFamily="34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471</TotalTime>
  <Words>514</Words>
  <Application>Microsoft Office PowerPoint</Application>
  <PresentationFormat>Widescreen</PresentationFormat>
  <Paragraphs>191</Paragraphs>
  <Slides>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LG스마트체 Regular</vt:lpstr>
      <vt:lpstr>LG스마트체2.0 Bold</vt:lpstr>
      <vt:lpstr>LG스마트체2.0 SemiBold</vt:lpstr>
      <vt:lpstr>맑은 고딕</vt:lpstr>
      <vt:lpstr>Arial</vt:lpstr>
      <vt:lpstr>Arial Narrow</vt:lpstr>
      <vt:lpstr>Calibri</vt:lpstr>
      <vt:lpstr>2_Office 테마</vt:lpstr>
      <vt:lpstr>디자인 사용자 지정</vt:lpstr>
      <vt:lpstr>1_디자인 사용자 지정</vt:lpstr>
      <vt:lpstr>Dealer Net : AR Credit Limit application</vt:lpstr>
      <vt:lpstr>Application Process : AR Credit Limit in Dealer Net</vt:lpstr>
      <vt:lpstr>Application Process : AR Credit Limit in Dealer Net</vt:lpstr>
    </vt:vector>
  </TitlesOfParts>
  <Company>LG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혜정/책임/Target MI팀(joan.choi@lge.com)</dc:creator>
  <cp:lastModifiedBy>SHARAD JACOB/LGEIL AR/Credit(sharad.jacob@lge.com)</cp:lastModifiedBy>
  <cp:revision>1903</cp:revision>
  <cp:lastPrinted>2022-04-26T05:56:22Z</cp:lastPrinted>
  <dcterms:created xsi:type="dcterms:W3CDTF">2022-01-11T23:26:55Z</dcterms:created>
  <dcterms:modified xsi:type="dcterms:W3CDTF">2023-11-07T06:04:01Z</dcterms:modified>
</cp:coreProperties>
</file>